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1626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2D8A22B-7A2D-4BBA-9A16-950E3C5F5465}" v="7" dt="2023-05-10T09:31:59.13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bhishek Danalakota" userId="139ae11c-37c1-494d-966a-606ba81d5a81" providerId="ADAL" clId="{D2D8A22B-7A2D-4BBA-9A16-950E3C5F5465}"/>
    <pc:docChg chg="undo custSel modSld">
      <pc:chgData name="Abhishek Danalakota" userId="139ae11c-37c1-494d-966a-606ba81d5a81" providerId="ADAL" clId="{D2D8A22B-7A2D-4BBA-9A16-950E3C5F5465}" dt="2023-05-10T09:31:59.133" v="247" actId="14826"/>
      <pc:docMkLst>
        <pc:docMk/>
      </pc:docMkLst>
      <pc:sldChg chg="addSp delSp modSp mod">
        <pc:chgData name="Abhishek Danalakota" userId="139ae11c-37c1-494d-966a-606ba81d5a81" providerId="ADAL" clId="{D2D8A22B-7A2D-4BBA-9A16-950E3C5F5465}" dt="2023-05-10T09:31:59.133" v="247" actId="14826"/>
        <pc:sldMkLst>
          <pc:docMk/>
          <pc:sldMk cId="2241159898" sldId="16261"/>
        </pc:sldMkLst>
        <pc:spChg chg="mod">
          <ac:chgData name="Abhishek Danalakota" userId="139ae11c-37c1-494d-966a-606ba81d5a81" providerId="ADAL" clId="{D2D8A22B-7A2D-4BBA-9A16-950E3C5F5465}" dt="2023-05-10T09:31:59.133" v="247" actId="14826"/>
          <ac:spMkLst>
            <pc:docMk/>
            <pc:sldMk cId="2241159898" sldId="16261"/>
            <ac:spMk id="6" creationId="{CE140F03-3D41-1B60-D94F-E84D58B5B309}"/>
          </ac:spMkLst>
        </pc:spChg>
        <pc:spChg chg="mod">
          <ac:chgData name="Abhishek Danalakota" userId="139ae11c-37c1-494d-966a-606ba81d5a81" providerId="ADAL" clId="{D2D8A22B-7A2D-4BBA-9A16-950E3C5F5465}" dt="2023-05-10T09:31:59.133" v="247" actId="14826"/>
          <ac:spMkLst>
            <pc:docMk/>
            <pc:sldMk cId="2241159898" sldId="16261"/>
            <ac:spMk id="7" creationId="{2EA022C2-CDB2-1A0C-91D7-3957EEE1C051}"/>
          </ac:spMkLst>
        </pc:spChg>
        <pc:grpChg chg="mod">
          <ac:chgData name="Abhishek Danalakota" userId="139ae11c-37c1-494d-966a-606ba81d5a81" providerId="ADAL" clId="{D2D8A22B-7A2D-4BBA-9A16-950E3C5F5465}" dt="2023-05-10T09:31:59.133" v="247" actId="14826"/>
          <ac:grpSpMkLst>
            <pc:docMk/>
            <pc:sldMk cId="2241159898" sldId="16261"/>
            <ac:grpSpMk id="5" creationId="{FE6F9EFC-FB38-5C30-DAA8-D53E1E02E821}"/>
          </ac:grpSpMkLst>
        </pc:grpChg>
        <pc:picChg chg="add del mod">
          <ac:chgData name="Abhishek Danalakota" userId="139ae11c-37c1-494d-966a-606ba81d5a81" providerId="ADAL" clId="{D2D8A22B-7A2D-4BBA-9A16-950E3C5F5465}" dt="2023-05-10T09:31:47.159" v="246" actId="478"/>
          <ac:picMkLst>
            <pc:docMk/>
            <pc:sldMk cId="2241159898" sldId="16261"/>
            <ac:picMk id="4" creationId="{AE4E2227-5FA6-4278-8A06-678F0EB3FC5E}"/>
          </ac:picMkLst>
        </pc:picChg>
        <pc:picChg chg="mod">
          <ac:chgData name="Abhishek Danalakota" userId="139ae11c-37c1-494d-966a-606ba81d5a81" providerId="ADAL" clId="{D2D8A22B-7A2D-4BBA-9A16-950E3C5F5465}" dt="2023-05-10T09:31:59.133" v="247" actId="14826"/>
          <ac:picMkLst>
            <pc:docMk/>
            <pc:sldMk cId="2241159898" sldId="16261"/>
            <ac:picMk id="8" creationId="{CAE0106A-7592-C9D7-7339-C595B1073D6E}"/>
          </ac:picMkLst>
        </pc:pic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8.jp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F4B0007-DA02-48C7-9137-9386DFC24A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2677661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8" y="0"/>
            <a:ext cx="5968062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3" y="2578743"/>
            <a:ext cx="4535597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/>
              <a:t>Chapter Title</a:t>
            </a:r>
          </a:p>
          <a:p>
            <a:pPr lvl="0"/>
            <a:r>
              <a:rPr lang="en-IN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3" y="3840384"/>
            <a:ext cx="4535597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6DB61-969F-46BA-942C-3600269FA4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16604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1"/>
            <a:ext cx="4954924" cy="4267457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8" y="3813288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8" y="4055931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0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1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70793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D06B42-27A8-4223-AE57-EB729EB5F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658744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8185129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3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3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3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3468239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AEB49-9ADD-490C-B904-979B3953B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622231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8B559-CD59-4D3D-87C0-5D51BCF9B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440850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637578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641714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EDF149-816A-4257-A64D-E23E91A50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883905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2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2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59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10246339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39B669-D18F-448E-A005-0A353671C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031300-352D-4FEE-9216-28FB2413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ADEB71-FD7D-4974-99DD-0F48E0466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66459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70B882-5FC5-4C48-9562-890886DDE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2E7899-FE60-4FDA-8608-58147D091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A32B5C-3285-477F-B755-A6F2F0F4D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801065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7416E9-5919-4213-81D7-5E74B3B61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FF1B2-A745-40FB-B885-B3638A4F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9AD96-7B7E-4E05-90E8-1F98943B0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963665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62463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189906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4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0985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" y="0"/>
            <a:ext cx="12185653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68112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99949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5376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423410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44" b="502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111" y="869577"/>
            <a:ext cx="4845500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31178734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0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4" y="5605201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2490" y="6019189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2490" y="6216807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743" y="5914642"/>
            <a:ext cx="5757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37800076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112" y="876059"/>
            <a:ext cx="4852768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1379084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112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2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59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30497834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1"/>
            <a:ext cx="4954924" cy="4267457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8" y="3813288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8" y="4055931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 to go here</a:t>
            </a:r>
            <a:endParaRPr lang="en-GB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0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1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/>
              <a:t>Content EY Interstate Light, 16pt, Lorem ipsum dolor, 12pt, </a:t>
            </a:r>
            <a:r>
              <a:rPr lang="en-US" err="1"/>
              <a:t>Utin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abhorreant</a:t>
            </a:r>
            <a:r>
              <a:rPr lang="en-US"/>
              <a:t> </a:t>
            </a:r>
            <a:r>
              <a:rPr lang="en-US" err="1"/>
              <a:t>sead</a:t>
            </a:r>
            <a:r>
              <a:rPr lang="en-US"/>
              <a:t>. </a:t>
            </a:r>
            <a:r>
              <a:rPr lang="en-US" err="1"/>
              <a:t>Putant</a:t>
            </a:r>
            <a:r>
              <a:rPr lang="en-US"/>
              <a:t> </a:t>
            </a:r>
            <a:r>
              <a:rPr lang="en-US" err="1"/>
              <a:t>probatus</a:t>
            </a:r>
            <a:r>
              <a:rPr lang="en-US"/>
              <a:t> id vis, ad his </a:t>
            </a:r>
            <a:r>
              <a:rPr lang="en-US" err="1"/>
              <a:t>meis</a:t>
            </a:r>
            <a:r>
              <a:rPr lang="en-US"/>
              <a:t> </a:t>
            </a:r>
            <a:r>
              <a:rPr lang="en-US" err="1"/>
              <a:t>habemus</a:t>
            </a:r>
            <a:r>
              <a:rPr lang="en-US"/>
              <a:t> </a:t>
            </a:r>
            <a:r>
              <a:rPr lang="en-US" err="1"/>
              <a:t>repudiare</a:t>
            </a:r>
            <a:r>
              <a:rPr lang="en-US"/>
              <a:t>, has an </a:t>
            </a:r>
            <a:r>
              <a:rPr lang="en-US" err="1"/>
              <a:t>pericula</a:t>
            </a:r>
            <a:r>
              <a:rPr lang="en-US"/>
              <a:t> </a:t>
            </a:r>
            <a:r>
              <a:rPr lang="en-US" err="1"/>
              <a:t>tractatos</a:t>
            </a:r>
            <a:r>
              <a:rPr lang="en-US"/>
              <a:t>.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debitis</a:t>
            </a:r>
            <a:r>
              <a:rPr lang="en-US"/>
              <a:t> </a:t>
            </a:r>
            <a:r>
              <a:rPr lang="en-US" err="1"/>
              <a:t>dissentias</a:t>
            </a:r>
            <a:r>
              <a:rPr lang="en-US"/>
              <a:t> ad. </a:t>
            </a:r>
            <a:r>
              <a:rPr lang="en-US" err="1"/>
              <a:t>Patrioque</a:t>
            </a:r>
            <a:r>
              <a:rPr lang="en-US"/>
              <a:t> </a:t>
            </a:r>
            <a:r>
              <a:rPr lang="en-US" err="1"/>
              <a:t>voluptatum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ex, id </a:t>
            </a:r>
            <a:r>
              <a:rPr lang="en-US" err="1"/>
              <a:t>admodum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755340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376969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2" y="1"/>
            <a:ext cx="3997149" cy="6156104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1" y="2311401"/>
            <a:ext cx="3578253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0" y="2311402"/>
            <a:ext cx="3578253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0" y="4236721"/>
            <a:ext cx="3578253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895939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383219" cy="6857999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1" y="1137922"/>
            <a:ext cx="2767159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128341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3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3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3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8553345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0236430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87471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76176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621293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882968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1155382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271980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628570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432973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2780135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97763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852858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D4F80EC-13C1-4EC0-8857-BCEC00019E7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4" y="0"/>
            <a:ext cx="12188826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D21B0C6-4086-48B0-8F6B-A48633CF63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252657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D21B0C6-4086-48B0-8F6B-A48633CF63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7455045-0052-4F3F-B08B-B86BBEDF2D3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999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 vert="horz"/>
          <a:lstStyle>
            <a:lvl1pPr>
              <a:defRPr sz="2999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  <p:sp>
        <p:nvSpPr>
          <p:cNvPr id="18" name="Freeform 5">
            <a:extLst>
              <a:ext uri="{FF2B5EF4-FFF2-40B4-BE49-F238E27FC236}">
                <a16:creationId xmlns:a16="http://schemas.microsoft.com/office/drawing/2014/main" id="{466EE80D-AEC4-45CB-B5F6-CB49419ABAA1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588455" y="746324"/>
            <a:ext cx="5099383" cy="4070989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65668" tIns="32834" rIns="65668" bIns="32834" numCol="1" anchor="t" anchorCtr="0" compatLnSpc="1">
            <a:prstTxWarp prst="textNoShape">
              <a:avLst/>
            </a:prstTxWarp>
          </a:bodyPr>
          <a:lstStyle/>
          <a:p>
            <a:pPr defTabSz="656720"/>
            <a:endParaRPr lang="en-US" sz="1474" dirty="0">
              <a:solidFill>
                <a:srgbClr val="2E2E38"/>
              </a:solidFill>
              <a:latin typeface="EYInterstate Light"/>
            </a:endParaRPr>
          </a:p>
        </p:txBody>
      </p:sp>
    </p:spTree>
    <p:extLst>
      <p:ext uri="{BB962C8B-B14F-4D97-AF65-F5344CB8AC3E}">
        <p14:creationId xmlns:p14="http://schemas.microsoft.com/office/powerpoint/2010/main" val="1849605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569438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2" y="1"/>
            <a:ext cx="3997149" cy="6156104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1" y="2311401"/>
            <a:ext cx="3578253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0" y="2311402"/>
            <a:ext cx="3578253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0" y="4236721"/>
            <a:ext cx="3578253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12681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383219" cy="6857999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5241" y="1137922"/>
            <a:ext cx="2767159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87270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18833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443D1-37A3-4969-A6D3-4E99E05604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997592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0" y="6356350"/>
            <a:ext cx="303055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184" y="6471244"/>
            <a:ext cx="119063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endParaRPr lang="en-IN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3943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29139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</p:sldLayoutIdLst>
  <p:hf hdr="0" ft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402D2B-FB3D-2D11-8951-85F607A03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CV Templat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E6F9EFC-FB38-5C30-DAA8-D53E1E02E821}"/>
              </a:ext>
            </a:extLst>
          </p:cNvPr>
          <p:cNvGrpSpPr/>
          <p:nvPr/>
        </p:nvGrpSpPr>
        <p:grpSpPr>
          <a:xfrm>
            <a:off x="802013" y="1566366"/>
            <a:ext cx="3250142" cy="2029361"/>
            <a:chOff x="5233093" y="1753113"/>
            <a:chExt cx="3250142" cy="202936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E140F03-3D41-1B60-D94F-E84D58B5B309}"/>
                </a:ext>
              </a:extLst>
            </p:cNvPr>
            <p:cNvSpPr txBox="1"/>
            <p:nvPr/>
          </p:nvSpPr>
          <p:spPr>
            <a:xfrm>
              <a:off x="5233093" y="2459035"/>
              <a:ext cx="3250142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E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Abhishek is in EY UKI MCSG Ireland for last 1.6 years and has total of 4+ years of </a:t>
              </a:r>
              <a:r>
                <a:rPr lang="en-IE" sz="800" dirty="0">
                  <a:solidFill>
                    <a:prstClr val="white"/>
                  </a:solidFill>
                  <a:latin typeface="EYInterstate Light"/>
                </a:rPr>
                <a:t>IT experience. In which Abhishek has two years of Cloud Consulting experience and overall four years of IT experience who is passionate about Microsoft Azure and automation. Abhishek has technical expertise and hands-on working experience with Microsoft Azure, Azure DevOps, Git, Cloud Infrastructure as Code deployment – terraform, DevOps deployment of microservices and </a:t>
              </a:r>
              <a:r>
                <a:rPr lang="en-IE" sz="800" dirty="0" err="1">
                  <a:solidFill>
                    <a:prstClr val="white"/>
                  </a:solidFill>
                  <a:latin typeface="EYInterstate Light"/>
                </a:rPr>
                <a:t>Molithic</a:t>
              </a:r>
              <a:r>
                <a:rPr lang="en-IE" sz="800" dirty="0">
                  <a:solidFill>
                    <a:prstClr val="white"/>
                  </a:solidFill>
                  <a:latin typeface="EYInterstate Light"/>
                </a:rPr>
                <a:t> architecture, </a:t>
              </a:r>
              <a:r>
                <a:rPr lang="en-IE" sz="800" dirty="0" err="1">
                  <a:solidFill>
                    <a:prstClr val="white"/>
                  </a:solidFill>
                  <a:latin typeface="EYInterstate Light"/>
                </a:rPr>
                <a:t>Progaming</a:t>
              </a:r>
              <a:r>
                <a:rPr lang="en-IE" sz="800" dirty="0">
                  <a:solidFill>
                    <a:prstClr val="white"/>
                  </a:solidFill>
                  <a:latin typeface="EYInterstate Light"/>
                </a:rPr>
                <a:t> – </a:t>
              </a:r>
              <a:r>
                <a:rPr lang="en-IE" sz="800" dirty="0" err="1">
                  <a:solidFill>
                    <a:prstClr val="white"/>
                  </a:solidFill>
                  <a:latin typeface="EYInterstate Light"/>
                </a:rPr>
                <a:t>primarly</a:t>
              </a:r>
              <a:r>
                <a:rPr lang="en-IE" sz="800" dirty="0">
                  <a:solidFill>
                    <a:prstClr val="white"/>
                  </a:solidFill>
                  <a:latin typeface="EYInterstate Light"/>
                </a:rPr>
                <a:t> python, scripting – </a:t>
              </a:r>
              <a:r>
                <a:rPr lang="en-IE" sz="800" dirty="0" err="1">
                  <a:solidFill>
                    <a:prstClr val="white"/>
                  </a:solidFill>
                  <a:latin typeface="EYInterstate Light"/>
                </a:rPr>
                <a:t>Powershell</a:t>
              </a:r>
              <a:r>
                <a:rPr lang="en-IE" sz="800" dirty="0">
                  <a:solidFill>
                    <a:prstClr val="white"/>
                  </a:solidFill>
                  <a:latin typeface="EYInterstate Light"/>
                </a:rPr>
                <a:t> and CLI tools and various services/ deployment automation solutions.</a:t>
              </a:r>
              <a:endParaRPr kumimoji="0" lang="en-IE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EA022C2-CDB2-1A0C-91D7-3957EEE1C051}"/>
                </a:ext>
              </a:extLst>
            </p:cNvPr>
            <p:cNvSpPr txBox="1"/>
            <p:nvPr/>
          </p:nvSpPr>
          <p:spPr>
            <a:xfrm>
              <a:off x="5759856" y="2033590"/>
              <a:ext cx="2610000" cy="360000"/>
            </a:xfrm>
            <a:prstGeom prst="rect">
              <a:avLst/>
            </a:prstGeom>
            <a:solidFill>
              <a:srgbClr val="FFE600"/>
            </a:solidFill>
            <a:ln w="19050">
              <a:solidFill>
                <a:srgbClr val="FFE600"/>
              </a:solidFill>
            </a:ln>
            <a:effectLst/>
          </p:spPr>
          <p:txBody>
            <a:bodyPr spcFirstLastPara="0" vert="horz" wrap="square" lIns="7620" tIns="7620" rIns="7620" bIns="94388" numCol="1" spcCol="1270" anchor="ctr" anchorCtr="0">
              <a:noAutofit/>
            </a:bodyPr>
            <a:lstStyle>
              <a:defPPr>
                <a:defRPr lang="en-US"/>
              </a:defPPr>
              <a:lvl1pPr algn="ctr" fontAlgn="ctr">
                <a:lnSpc>
                  <a:spcPct val="90000"/>
                </a:lnSpc>
                <a:spcBef>
                  <a:spcPct val="0"/>
                </a:spcBef>
                <a:defRPr sz="700" b="1" kern="0">
                  <a:solidFill>
                    <a:srgbClr val="000000"/>
                  </a:solidFill>
                  <a:latin typeface="EYInterstate" panose="02000503020000020004" pitchFamily="2" charset="0"/>
                  <a:cs typeface="Arial" charset="0"/>
                </a:defRPr>
              </a:lvl1pPr>
            </a:lstStyle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Abhishek Danalakota</a:t>
              </a:r>
            </a:p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DevOps/Azure Cloud Engineer</a:t>
              </a:r>
            </a:p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Proposed role: </a:t>
              </a:r>
              <a:r>
                <a:rPr lang="en-US" sz="700" dirty="0">
                  <a:solidFill>
                    <a:srgbClr val="2E2E38"/>
                  </a:solidFill>
                  <a:latin typeface="EYInterstate Light"/>
                </a:rPr>
                <a:t>---</a:t>
              </a:r>
              <a:endPara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AE0106A-7592-C9D7-7339-C595B1073D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231" b="13231"/>
            <a:stretch/>
          </p:blipFill>
          <p:spPr>
            <a:xfrm>
              <a:off x="5233093" y="1753113"/>
              <a:ext cx="687468" cy="673200"/>
            </a:xfrm>
            <a:prstGeom prst="ellipse">
              <a:avLst/>
            </a:prstGeom>
            <a:ln w="12700" cap="rnd">
              <a:solidFill>
                <a:schemeClr val="tx1">
                  <a:lumMod val="20000"/>
                  <a:lumOff val="80000"/>
                </a:schemeClr>
              </a:solidFill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2411598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cZzQ8JJpedarPR6lbI3A"/>
</p:tagLst>
</file>

<file path=ppt/theme/theme1.xml><?xml version="1.0" encoding="utf-8"?>
<a:theme xmlns:a="http://schemas.openxmlformats.org/drawingml/2006/main" name="1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_EY_widescreen_presentation_2019_v1.4.pptx" id="{669A4694-7F8C-40EA-92E1-8E6D75010CAB}" vid="{974AC421-4F2E-46A5-9C01-6F171E24078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</TotalTime>
  <Words>113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EYInterstate</vt:lpstr>
      <vt:lpstr>EYInterstate Light</vt:lpstr>
      <vt:lpstr>Georgia</vt:lpstr>
      <vt:lpstr>1_EY dark background</vt:lpstr>
      <vt:lpstr>think-cell Slide</vt:lpstr>
      <vt:lpstr>CV Templa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V Template</dc:title>
  <dc:creator>Tshepiso Njikelane</dc:creator>
  <cp:lastModifiedBy>Abhishek Danalakota</cp:lastModifiedBy>
  <cp:revision>1</cp:revision>
  <dcterms:created xsi:type="dcterms:W3CDTF">2023-05-09T13:57:14Z</dcterms:created>
  <dcterms:modified xsi:type="dcterms:W3CDTF">2023-05-10T09:32:04Z</dcterms:modified>
</cp:coreProperties>
</file>